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1"/>
  </p:sldMasterIdLst>
  <p:sldIdLst>
    <p:sldId id="256" r:id="rId2"/>
  </p:sldIdLst>
  <p:sldSz cx="48801338" cy="31510288"/>
  <p:notesSz cx="6858000" cy="9144000"/>
  <p:custDataLst>
    <p:tags r:id="rId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94"/>
  </p:normalViewPr>
  <p:slideViewPr>
    <p:cSldViewPr snapToGrid="0">
      <p:cViewPr>
        <p:scale>
          <a:sx n="20" d="100"/>
          <a:sy n="20" d="100"/>
        </p:scale>
        <p:origin x="1760" y="7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60101" y="5156895"/>
            <a:ext cx="41481137" cy="10970248"/>
          </a:xfrm>
        </p:spPr>
        <p:txBody>
          <a:bodyPr anchor="b"/>
          <a:lstStyle>
            <a:lvl1pPr algn="ctr">
              <a:defRPr sz="27568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100167" y="16550198"/>
            <a:ext cx="36601004" cy="7607690"/>
          </a:xfrm>
        </p:spPr>
        <p:txBody>
          <a:bodyPr/>
          <a:lstStyle>
            <a:lvl1pPr marL="0" indent="0" algn="ctr">
              <a:buNone/>
              <a:defRPr sz="11027"/>
            </a:lvl1pPr>
            <a:lvl2pPr marL="2100697" indent="0" algn="ctr">
              <a:buNone/>
              <a:defRPr sz="9189"/>
            </a:lvl2pPr>
            <a:lvl3pPr marL="4201394" indent="0" algn="ctr">
              <a:buNone/>
              <a:defRPr sz="8270"/>
            </a:lvl3pPr>
            <a:lvl4pPr marL="6302091" indent="0" algn="ctr">
              <a:buNone/>
              <a:defRPr sz="7352"/>
            </a:lvl4pPr>
            <a:lvl5pPr marL="8402787" indent="0" algn="ctr">
              <a:buNone/>
              <a:defRPr sz="7352"/>
            </a:lvl5pPr>
            <a:lvl6pPr marL="10503484" indent="0" algn="ctr">
              <a:buNone/>
              <a:defRPr sz="7352"/>
            </a:lvl6pPr>
            <a:lvl7pPr marL="12604181" indent="0" algn="ctr">
              <a:buNone/>
              <a:defRPr sz="7352"/>
            </a:lvl7pPr>
            <a:lvl8pPr marL="14704878" indent="0" algn="ctr">
              <a:buNone/>
              <a:defRPr sz="7352"/>
            </a:lvl8pPr>
            <a:lvl9pPr marL="16805575" indent="0" algn="ctr">
              <a:buNone/>
              <a:defRPr sz="7352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94E585-D651-7F49-98BC-34561835FAA9}" type="datetimeFigureOut">
              <a:rPr lang="en-US" smtClean="0"/>
              <a:t>3/13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0712A9-16B5-5642-884F-C65238F74A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46754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94E585-D651-7F49-98BC-34561835FAA9}" type="datetimeFigureOut">
              <a:rPr lang="en-US" smtClean="0"/>
              <a:t>3/13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0712A9-16B5-5642-884F-C65238F74A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74365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34923460" y="1677631"/>
            <a:ext cx="10522789" cy="267035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55095" y="1677631"/>
            <a:ext cx="30958349" cy="2670351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94E585-D651-7F49-98BC-34561835FAA9}" type="datetimeFigureOut">
              <a:rPr lang="en-US" smtClean="0"/>
              <a:t>3/13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0712A9-16B5-5642-884F-C65238F74A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90725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94E585-D651-7F49-98BC-34561835FAA9}" type="datetimeFigureOut">
              <a:rPr lang="en-US" smtClean="0"/>
              <a:t>3/13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0712A9-16B5-5642-884F-C65238F74A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21799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29677" y="7855699"/>
            <a:ext cx="42091154" cy="13107402"/>
          </a:xfrm>
        </p:spPr>
        <p:txBody>
          <a:bodyPr anchor="b"/>
          <a:lstStyle>
            <a:lvl1pPr>
              <a:defRPr sz="27568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29677" y="21087102"/>
            <a:ext cx="42091154" cy="6892873"/>
          </a:xfrm>
        </p:spPr>
        <p:txBody>
          <a:bodyPr/>
          <a:lstStyle>
            <a:lvl1pPr marL="0" indent="0">
              <a:buNone/>
              <a:defRPr sz="11027">
                <a:solidFill>
                  <a:schemeClr val="tx1"/>
                </a:solidFill>
              </a:defRPr>
            </a:lvl1pPr>
            <a:lvl2pPr marL="2100697" indent="0">
              <a:buNone/>
              <a:defRPr sz="9189">
                <a:solidFill>
                  <a:schemeClr val="tx1">
                    <a:tint val="75000"/>
                  </a:schemeClr>
                </a:solidFill>
              </a:defRPr>
            </a:lvl2pPr>
            <a:lvl3pPr marL="4201394" indent="0">
              <a:buNone/>
              <a:defRPr sz="8270">
                <a:solidFill>
                  <a:schemeClr val="tx1">
                    <a:tint val="75000"/>
                  </a:schemeClr>
                </a:solidFill>
              </a:defRPr>
            </a:lvl3pPr>
            <a:lvl4pPr marL="6302091" indent="0">
              <a:buNone/>
              <a:defRPr sz="7352">
                <a:solidFill>
                  <a:schemeClr val="tx1">
                    <a:tint val="75000"/>
                  </a:schemeClr>
                </a:solidFill>
              </a:defRPr>
            </a:lvl4pPr>
            <a:lvl5pPr marL="8402787" indent="0">
              <a:buNone/>
              <a:defRPr sz="7352">
                <a:solidFill>
                  <a:schemeClr val="tx1">
                    <a:tint val="75000"/>
                  </a:schemeClr>
                </a:solidFill>
              </a:defRPr>
            </a:lvl5pPr>
            <a:lvl6pPr marL="10503484" indent="0">
              <a:buNone/>
              <a:defRPr sz="7352">
                <a:solidFill>
                  <a:schemeClr val="tx1">
                    <a:tint val="75000"/>
                  </a:schemeClr>
                </a:solidFill>
              </a:defRPr>
            </a:lvl6pPr>
            <a:lvl7pPr marL="12604181" indent="0">
              <a:buNone/>
              <a:defRPr sz="7352">
                <a:solidFill>
                  <a:schemeClr val="tx1">
                    <a:tint val="75000"/>
                  </a:schemeClr>
                </a:solidFill>
              </a:defRPr>
            </a:lvl7pPr>
            <a:lvl8pPr marL="14704878" indent="0">
              <a:buNone/>
              <a:defRPr sz="7352">
                <a:solidFill>
                  <a:schemeClr val="tx1">
                    <a:tint val="75000"/>
                  </a:schemeClr>
                </a:solidFill>
              </a:defRPr>
            </a:lvl8pPr>
            <a:lvl9pPr marL="16805575" indent="0">
              <a:buNone/>
              <a:defRPr sz="735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94E585-D651-7F49-98BC-34561835FAA9}" type="datetimeFigureOut">
              <a:rPr lang="en-US" smtClean="0"/>
              <a:t>3/13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0712A9-16B5-5642-884F-C65238F74A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08633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55092" y="8388156"/>
            <a:ext cx="20740569" cy="199929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4705677" y="8388156"/>
            <a:ext cx="20740569" cy="199929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94E585-D651-7F49-98BC-34561835FAA9}" type="datetimeFigureOut">
              <a:rPr lang="en-US" smtClean="0"/>
              <a:t>3/13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0712A9-16B5-5642-884F-C65238F74A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47003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61448" y="1677638"/>
            <a:ext cx="42091154" cy="609053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61454" y="7724399"/>
            <a:ext cx="20645250" cy="3785609"/>
          </a:xfrm>
        </p:spPr>
        <p:txBody>
          <a:bodyPr anchor="b"/>
          <a:lstStyle>
            <a:lvl1pPr marL="0" indent="0">
              <a:buNone/>
              <a:defRPr sz="11027" b="1"/>
            </a:lvl1pPr>
            <a:lvl2pPr marL="2100697" indent="0">
              <a:buNone/>
              <a:defRPr sz="9189" b="1"/>
            </a:lvl2pPr>
            <a:lvl3pPr marL="4201394" indent="0">
              <a:buNone/>
              <a:defRPr sz="8270" b="1"/>
            </a:lvl3pPr>
            <a:lvl4pPr marL="6302091" indent="0">
              <a:buNone/>
              <a:defRPr sz="7352" b="1"/>
            </a:lvl4pPr>
            <a:lvl5pPr marL="8402787" indent="0">
              <a:buNone/>
              <a:defRPr sz="7352" b="1"/>
            </a:lvl5pPr>
            <a:lvl6pPr marL="10503484" indent="0">
              <a:buNone/>
              <a:defRPr sz="7352" b="1"/>
            </a:lvl6pPr>
            <a:lvl7pPr marL="12604181" indent="0">
              <a:buNone/>
              <a:defRPr sz="7352" b="1"/>
            </a:lvl7pPr>
            <a:lvl8pPr marL="14704878" indent="0">
              <a:buNone/>
              <a:defRPr sz="7352" b="1"/>
            </a:lvl8pPr>
            <a:lvl9pPr marL="16805575" indent="0">
              <a:buNone/>
              <a:defRPr sz="7352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61454" y="11510008"/>
            <a:ext cx="20645250" cy="169294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24705680" y="7724399"/>
            <a:ext cx="20746925" cy="3785609"/>
          </a:xfrm>
        </p:spPr>
        <p:txBody>
          <a:bodyPr anchor="b"/>
          <a:lstStyle>
            <a:lvl1pPr marL="0" indent="0">
              <a:buNone/>
              <a:defRPr sz="11027" b="1"/>
            </a:lvl1pPr>
            <a:lvl2pPr marL="2100697" indent="0">
              <a:buNone/>
              <a:defRPr sz="9189" b="1"/>
            </a:lvl2pPr>
            <a:lvl3pPr marL="4201394" indent="0">
              <a:buNone/>
              <a:defRPr sz="8270" b="1"/>
            </a:lvl3pPr>
            <a:lvl4pPr marL="6302091" indent="0">
              <a:buNone/>
              <a:defRPr sz="7352" b="1"/>
            </a:lvl4pPr>
            <a:lvl5pPr marL="8402787" indent="0">
              <a:buNone/>
              <a:defRPr sz="7352" b="1"/>
            </a:lvl5pPr>
            <a:lvl6pPr marL="10503484" indent="0">
              <a:buNone/>
              <a:defRPr sz="7352" b="1"/>
            </a:lvl6pPr>
            <a:lvl7pPr marL="12604181" indent="0">
              <a:buNone/>
              <a:defRPr sz="7352" b="1"/>
            </a:lvl7pPr>
            <a:lvl8pPr marL="14704878" indent="0">
              <a:buNone/>
              <a:defRPr sz="7352" b="1"/>
            </a:lvl8pPr>
            <a:lvl9pPr marL="16805575" indent="0">
              <a:buNone/>
              <a:defRPr sz="7352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24705680" y="11510008"/>
            <a:ext cx="20746925" cy="169294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94E585-D651-7F49-98BC-34561835FAA9}" type="datetimeFigureOut">
              <a:rPr lang="en-US" smtClean="0"/>
              <a:t>3/13/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0712A9-16B5-5642-884F-C65238F74A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06455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94E585-D651-7F49-98BC-34561835FAA9}" type="datetimeFigureOut">
              <a:rPr lang="en-US" smtClean="0"/>
              <a:t>3/13/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0712A9-16B5-5642-884F-C65238F74A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72318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94E585-D651-7F49-98BC-34561835FAA9}" type="datetimeFigureOut">
              <a:rPr lang="en-US" smtClean="0"/>
              <a:t>3/13/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0712A9-16B5-5642-884F-C65238F74A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73267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61448" y="2100686"/>
            <a:ext cx="15739702" cy="7352401"/>
          </a:xfrm>
        </p:spPr>
        <p:txBody>
          <a:bodyPr anchor="b"/>
          <a:lstStyle>
            <a:lvl1pPr>
              <a:defRPr sz="14703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746925" y="4536905"/>
            <a:ext cx="24705677" cy="22392728"/>
          </a:xfrm>
        </p:spPr>
        <p:txBody>
          <a:bodyPr/>
          <a:lstStyle>
            <a:lvl1pPr>
              <a:defRPr sz="14703"/>
            </a:lvl1pPr>
            <a:lvl2pPr>
              <a:defRPr sz="12865"/>
            </a:lvl2pPr>
            <a:lvl3pPr>
              <a:defRPr sz="11027"/>
            </a:lvl3pPr>
            <a:lvl4pPr>
              <a:defRPr sz="9189"/>
            </a:lvl4pPr>
            <a:lvl5pPr>
              <a:defRPr sz="9189"/>
            </a:lvl5pPr>
            <a:lvl6pPr>
              <a:defRPr sz="9189"/>
            </a:lvl6pPr>
            <a:lvl7pPr>
              <a:defRPr sz="9189"/>
            </a:lvl7pPr>
            <a:lvl8pPr>
              <a:defRPr sz="9189"/>
            </a:lvl8pPr>
            <a:lvl9pPr>
              <a:defRPr sz="918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361448" y="9453086"/>
            <a:ext cx="15739702" cy="17513012"/>
          </a:xfrm>
        </p:spPr>
        <p:txBody>
          <a:bodyPr/>
          <a:lstStyle>
            <a:lvl1pPr marL="0" indent="0">
              <a:buNone/>
              <a:defRPr sz="7352"/>
            </a:lvl1pPr>
            <a:lvl2pPr marL="2100697" indent="0">
              <a:buNone/>
              <a:defRPr sz="6433"/>
            </a:lvl2pPr>
            <a:lvl3pPr marL="4201394" indent="0">
              <a:buNone/>
              <a:defRPr sz="5514"/>
            </a:lvl3pPr>
            <a:lvl4pPr marL="6302091" indent="0">
              <a:buNone/>
              <a:defRPr sz="4595"/>
            </a:lvl4pPr>
            <a:lvl5pPr marL="8402787" indent="0">
              <a:buNone/>
              <a:defRPr sz="4595"/>
            </a:lvl5pPr>
            <a:lvl6pPr marL="10503484" indent="0">
              <a:buNone/>
              <a:defRPr sz="4595"/>
            </a:lvl6pPr>
            <a:lvl7pPr marL="12604181" indent="0">
              <a:buNone/>
              <a:defRPr sz="4595"/>
            </a:lvl7pPr>
            <a:lvl8pPr marL="14704878" indent="0">
              <a:buNone/>
              <a:defRPr sz="4595"/>
            </a:lvl8pPr>
            <a:lvl9pPr marL="16805575" indent="0">
              <a:buNone/>
              <a:defRPr sz="459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94E585-D651-7F49-98BC-34561835FAA9}" type="datetimeFigureOut">
              <a:rPr lang="en-US" smtClean="0"/>
              <a:t>3/13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0712A9-16B5-5642-884F-C65238F74A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8372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61448" y="2100686"/>
            <a:ext cx="15739702" cy="7352401"/>
          </a:xfrm>
        </p:spPr>
        <p:txBody>
          <a:bodyPr anchor="b"/>
          <a:lstStyle>
            <a:lvl1pPr>
              <a:defRPr sz="14703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0746925" y="4536905"/>
            <a:ext cx="24705677" cy="22392728"/>
          </a:xfrm>
        </p:spPr>
        <p:txBody>
          <a:bodyPr anchor="t"/>
          <a:lstStyle>
            <a:lvl1pPr marL="0" indent="0">
              <a:buNone/>
              <a:defRPr sz="14703"/>
            </a:lvl1pPr>
            <a:lvl2pPr marL="2100697" indent="0">
              <a:buNone/>
              <a:defRPr sz="12865"/>
            </a:lvl2pPr>
            <a:lvl3pPr marL="4201394" indent="0">
              <a:buNone/>
              <a:defRPr sz="11027"/>
            </a:lvl3pPr>
            <a:lvl4pPr marL="6302091" indent="0">
              <a:buNone/>
              <a:defRPr sz="9189"/>
            </a:lvl4pPr>
            <a:lvl5pPr marL="8402787" indent="0">
              <a:buNone/>
              <a:defRPr sz="9189"/>
            </a:lvl5pPr>
            <a:lvl6pPr marL="10503484" indent="0">
              <a:buNone/>
              <a:defRPr sz="9189"/>
            </a:lvl6pPr>
            <a:lvl7pPr marL="12604181" indent="0">
              <a:buNone/>
              <a:defRPr sz="9189"/>
            </a:lvl7pPr>
            <a:lvl8pPr marL="14704878" indent="0">
              <a:buNone/>
              <a:defRPr sz="9189"/>
            </a:lvl8pPr>
            <a:lvl9pPr marL="16805575" indent="0">
              <a:buNone/>
              <a:defRPr sz="9189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361448" y="9453086"/>
            <a:ext cx="15739702" cy="17513012"/>
          </a:xfrm>
        </p:spPr>
        <p:txBody>
          <a:bodyPr/>
          <a:lstStyle>
            <a:lvl1pPr marL="0" indent="0">
              <a:buNone/>
              <a:defRPr sz="7352"/>
            </a:lvl1pPr>
            <a:lvl2pPr marL="2100697" indent="0">
              <a:buNone/>
              <a:defRPr sz="6433"/>
            </a:lvl2pPr>
            <a:lvl3pPr marL="4201394" indent="0">
              <a:buNone/>
              <a:defRPr sz="5514"/>
            </a:lvl3pPr>
            <a:lvl4pPr marL="6302091" indent="0">
              <a:buNone/>
              <a:defRPr sz="4595"/>
            </a:lvl4pPr>
            <a:lvl5pPr marL="8402787" indent="0">
              <a:buNone/>
              <a:defRPr sz="4595"/>
            </a:lvl5pPr>
            <a:lvl6pPr marL="10503484" indent="0">
              <a:buNone/>
              <a:defRPr sz="4595"/>
            </a:lvl6pPr>
            <a:lvl7pPr marL="12604181" indent="0">
              <a:buNone/>
              <a:defRPr sz="4595"/>
            </a:lvl7pPr>
            <a:lvl8pPr marL="14704878" indent="0">
              <a:buNone/>
              <a:defRPr sz="4595"/>
            </a:lvl8pPr>
            <a:lvl9pPr marL="16805575" indent="0">
              <a:buNone/>
              <a:defRPr sz="459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94E585-D651-7F49-98BC-34561835FAA9}" type="datetimeFigureOut">
              <a:rPr lang="en-US" smtClean="0"/>
              <a:t>3/13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0712A9-16B5-5642-884F-C65238F74A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22026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55092" y="1677638"/>
            <a:ext cx="42091154" cy="609053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55092" y="8388156"/>
            <a:ext cx="42091154" cy="199929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355092" y="29205376"/>
            <a:ext cx="10980301" cy="167763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551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94E585-D651-7F49-98BC-34561835FAA9}" type="datetimeFigureOut">
              <a:rPr lang="en-US" smtClean="0"/>
              <a:t>3/13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165443" y="29205376"/>
            <a:ext cx="16470452" cy="167763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551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4465945" y="29205376"/>
            <a:ext cx="10980301" cy="167763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551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0712A9-16B5-5642-884F-C65238F74A36}" type="slidenum">
              <a:rPr lang="en-US" smtClean="0"/>
              <a:t>‹#›</a:t>
            </a:fld>
            <a:endParaRPr lang="en-US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9BA314C-8FD7-E36E-9373-25AFDA5BC3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865241598"/>
              </p:ext>
            </p:extLst>
          </p:nvPr>
        </p:nvGraphicFramePr>
        <p:xfrm>
          <a:off x="6360" y="7297"/>
          <a:ext cx="4911" cy="72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F78E391-9C01-6DAF-DD2F-C9AF5DC08C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6360" y="7297"/>
                        <a:ext cx="4911" cy="72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8606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4201394" rtl="0" eaLnBrk="1" latinLnBrk="0" hangingPunct="1">
        <a:lnSpc>
          <a:spcPct val="90000"/>
        </a:lnSpc>
        <a:spcBef>
          <a:spcPct val="0"/>
        </a:spcBef>
        <a:buNone/>
        <a:defRPr sz="2021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050348" indent="-1050348" algn="l" defTabSz="4201394" rtl="0" eaLnBrk="1" latinLnBrk="0" hangingPunct="1">
        <a:lnSpc>
          <a:spcPct val="90000"/>
        </a:lnSpc>
        <a:spcBef>
          <a:spcPts val="4595"/>
        </a:spcBef>
        <a:buFont typeface="Arial" panose="020B0604020202020204" pitchFamily="34" charset="0"/>
        <a:buChar char="•"/>
        <a:defRPr sz="12865" kern="1200">
          <a:solidFill>
            <a:schemeClr val="tx1"/>
          </a:solidFill>
          <a:latin typeface="+mn-lt"/>
          <a:ea typeface="+mn-ea"/>
          <a:cs typeface="+mn-cs"/>
        </a:defRPr>
      </a:lvl1pPr>
      <a:lvl2pPr marL="3151045" indent="-1050348" algn="l" defTabSz="4201394" rtl="0" eaLnBrk="1" latinLnBrk="0" hangingPunct="1">
        <a:lnSpc>
          <a:spcPct val="90000"/>
        </a:lnSpc>
        <a:spcBef>
          <a:spcPts val="2297"/>
        </a:spcBef>
        <a:buFont typeface="Arial" panose="020B0604020202020204" pitchFamily="34" charset="0"/>
        <a:buChar char="•"/>
        <a:defRPr sz="11027" kern="1200">
          <a:solidFill>
            <a:schemeClr val="tx1"/>
          </a:solidFill>
          <a:latin typeface="+mn-lt"/>
          <a:ea typeface="+mn-ea"/>
          <a:cs typeface="+mn-cs"/>
        </a:defRPr>
      </a:lvl2pPr>
      <a:lvl3pPr marL="5251742" indent="-1050348" algn="l" defTabSz="4201394" rtl="0" eaLnBrk="1" latinLnBrk="0" hangingPunct="1">
        <a:lnSpc>
          <a:spcPct val="90000"/>
        </a:lnSpc>
        <a:spcBef>
          <a:spcPts val="2297"/>
        </a:spcBef>
        <a:buFont typeface="Arial" panose="020B0604020202020204" pitchFamily="34" charset="0"/>
        <a:buChar char="•"/>
        <a:defRPr sz="9189" kern="1200">
          <a:solidFill>
            <a:schemeClr val="tx1"/>
          </a:solidFill>
          <a:latin typeface="+mn-lt"/>
          <a:ea typeface="+mn-ea"/>
          <a:cs typeface="+mn-cs"/>
        </a:defRPr>
      </a:lvl3pPr>
      <a:lvl4pPr marL="7352439" indent="-1050348" algn="l" defTabSz="4201394" rtl="0" eaLnBrk="1" latinLnBrk="0" hangingPunct="1">
        <a:lnSpc>
          <a:spcPct val="90000"/>
        </a:lnSpc>
        <a:spcBef>
          <a:spcPts val="2297"/>
        </a:spcBef>
        <a:buFont typeface="Arial" panose="020B0604020202020204" pitchFamily="34" charset="0"/>
        <a:buChar char="•"/>
        <a:defRPr sz="8270" kern="1200">
          <a:solidFill>
            <a:schemeClr val="tx1"/>
          </a:solidFill>
          <a:latin typeface="+mn-lt"/>
          <a:ea typeface="+mn-ea"/>
          <a:cs typeface="+mn-cs"/>
        </a:defRPr>
      </a:lvl4pPr>
      <a:lvl5pPr marL="9453136" indent="-1050348" algn="l" defTabSz="4201394" rtl="0" eaLnBrk="1" latinLnBrk="0" hangingPunct="1">
        <a:lnSpc>
          <a:spcPct val="90000"/>
        </a:lnSpc>
        <a:spcBef>
          <a:spcPts val="2297"/>
        </a:spcBef>
        <a:buFont typeface="Arial" panose="020B0604020202020204" pitchFamily="34" charset="0"/>
        <a:buChar char="•"/>
        <a:defRPr sz="8270" kern="1200">
          <a:solidFill>
            <a:schemeClr val="tx1"/>
          </a:solidFill>
          <a:latin typeface="+mn-lt"/>
          <a:ea typeface="+mn-ea"/>
          <a:cs typeface="+mn-cs"/>
        </a:defRPr>
      </a:lvl5pPr>
      <a:lvl6pPr marL="11553833" indent="-1050348" algn="l" defTabSz="4201394" rtl="0" eaLnBrk="1" latinLnBrk="0" hangingPunct="1">
        <a:lnSpc>
          <a:spcPct val="90000"/>
        </a:lnSpc>
        <a:spcBef>
          <a:spcPts val="2297"/>
        </a:spcBef>
        <a:buFont typeface="Arial" panose="020B0604020202020204" pitchFamily="34" charset="0"/>
        <a:buChar char="•"/>
        <a:defRPr sz="8270" kern="1200">
          <a:solidFill>
            <a:schemeClr val="tx1"/>
          </a:solidFill>
          <a:latin typeface="+mn-lt"/>
          <a:ea typeface="+mn-ea"/>
          <a:cs typeface="+mn-cs"/>
        </a:defRPr>
      </a:lvl6pPr>
      <a:lvl7pPr marL="13654529" indent="-1050348" algn="l" defTabSz="4201394" rtl="0" eaLnBrk="1" latinLnBrk="0" hangingPunct="1">
        <a:lnSpc>
          <a:spcPct val="90000"/>
        </a:lnSpc>
        <a:spcBef>
          <a:spcPts val="2297"/>
        </a:spcBef>
        <a:buFont typeface="Arial" panose="020B0604020202020204" pitchFamily="34" charset="0"/>
        <a:buChar char="•"/>
        <a:defRPr sz="8270" kern="1200">
          <a:solidFill>
            <a:schemeClr val="tx1"/>
          </a:solidFill>
          <a:latin typeface="+mn-lt"/>
          <a:ea typeface="+mn-ea"/>
          <a:cs typeface="+mn-cs"/>
        </a:defRPr>
      </a:lvl7pPr>
      <a:lvl8pPr marL="15755226" indent="-1050348" algn="l" defTabSz="4201394" rtl="0" eaLnBrk="1" latinLnBrk="0" hangingPunct="1">
        <a:lnSpc>
          <a:spcPct val="90000"/>
        </a:lnSpc>
        <a:spcBef>
          <a:spcPts val="2297"/>
        </a:spcBef>
        <a:buFont typeface="Arial" panose="020B0604020202020204" pitchFamily="34" charset="0"/>
        <a:buChar char="•"/>
        <a:defRPr sz="8270" kern="1200">
          <a:solidFill>
            <a:schemeClr val="tx1"/>
          </a:solidFill>
          <a:latin typeface="+mn-lt"/>
          <a:ea typeface="+mn-ea"/>
          <a:cs typeface="+mn-cs"/>
        </a:defRPr>
      </a:lvl8pPr>
      <a:lvl9pPr marL="17855923" indent="-1050348" algn="l" defTabSz="4201394" rtl="0" eaLnBrk="1" latinLnBrk="0" hangingPunct="1">
        <a:lnSpc>
          <a:spcPct val="90000"/>
        </a:lnSpc>
        <a:spcBef>
          <a:spcPts val="2297"/>
        </a:spcBef>
        <a:buFont typeface="Arial" panose="020B0604020202020204" pitchFamily="34" charset="0"/>
        <a:buChar char="•"/>
        <a:defRPr sz="827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201394" rtl="0" eaLnBrk="1" latinLnBrk="0" hangingPunct="1">
        <a:defRPr sz="8270" kern="1200">
          <a:solidFill>
            <a:schemeClr val="tx1"/>
          </a:solidFill>
          <a:latin typeface="+mn-lt"/>
          <a:ea typeface="+mn-ea"/>
          <a:cs typeface="+mn-cs"/>
        </a:defRPr>
      </a:lvl1pPr>
      <a:lvl2pPr marL="2100697" algn="l" defTabSz="4201394" rtl="0" eaLnBrk="1" latinLnBrk="0" hangingPunct="1">
        <a:defRPr sz="8270" kern="1200">
          <a:solidFill>
            <a:schemeClr val="tx1"/>
          </a:solidFill>
          <a:latin typeface="+mn-lt"/>
          <a:ea typeface="+mn-ea"/>
          <a:cs typeface="+mn-cs"/>
        </a:defRPr>
      </a:lvl2pPr>
      <a:lvl3pPr marL="4201394" algn="l" defTabSz="4201394" rtl="0" eaLnBrk="1" latinLnBrk="0" hangingPunct="1">
        <a:defRPr sz="8270" kern="1200">
          <a:solidFill>
            <a:schemeClr val="tx1"/>
          </a:solidFill>
          <a:latin typeface="+mn-lt"/>
          <a:ea typeface="+mn-ea"/>
          <a:cs typeface="+mn-cs"/>
        </a:defRPr>
      </a:lvl3pPr>
      <a:lvl4pPr marL="6302091" algn="l" defTabSz="4201394" rtl="0" eaLnBrk="1" latinLnBrk="0" hangingPunct="1">
        <a:defRPr sz="8270" kern="1200">
          <a:solidFill>
            <a:schemeClr val="tx1"/>
          </a:solidFill>
          <a:latin typeface="+mn-lt"/>
          <a:ea typeface="+mn-ea"/>
          <a:cs typeface="+mn-cs"/>
        </a:defRPr>
      </a:lvl4pPr>
      <a:lvl5pPr marL="8402787" algn="l" defTabSz="4201394" rtl="0" eaLnBrk="1" latinLnBrk="0" hangingPunct="1">
        <a:defRPr sz="8270" kern="1200">
          <a:solidFill>
            <a:schemeClr val="tx1"/>
          </a:solidFill>
          <a:latin typeface="+mn-lt"/>
          <a:ea typeface="+mn-ea"/>
          <a:cs typeface="+mn-cs"/>
        </a:defRPr>
      </a:lvl5pPr>
      <a:lvl6pPr marL="10503484" algn="l" defTabSz="4201394" rtl="0" eaLnBrk="1" latinLnBrk="0" hangingPunct="1">
        <a:defRPr sz="8270" kern="1200">
          <a:solidFill>
            <a:schemeClr val="tx1"/>
          </a:solidFill>
          <a:latin typeface="+mn-lt"/>
          <a:ea typeface="+mn-ea"/>
          <a:cs typeface="+mn-cs"/>
        </a:defRPr>
      </a:lvl6pPr>
      <a:lvl7pPr marL="12604181" algn="l" defTabSz="4201394" rtl="0" eaLnBrk="1" latinLnBrk="0" hangingPunct="1">
        <a:defRPr sz="8270" kern="1200">
          <a:solidFill>
            <a:schemeClr val="tx1"/>
          </a:solidFill>
          <a:latin typeface="+mn-lt"/>
          <a:ea typeface="+mn-ea"/>
          <a:cs typeface="+mn-cs"/>
        </a:defRPr>
      </a:lvl7pPr>
      <a:lvl8pPr marL="14704878" algn="l" defTabSz="4201394" rtl="0" eaLnBrk="1" latinLnBrk="0" hangingPunct="1">
        <a:defRPr sz="8270" kern="1200">
          <a:solidFill>
            <a:schemeClr val="tx1"/>
          </a:solidFill>
          <a:latin typeface="+mn-lt"/>
          <a:ea typeface="+mn-ea"/>
          <a:cs typeface="+mn-cs"/>
        </a:defRPr>
      </a:lvl8pPr>
      <a:lvl9pPr marL="16805575" algn="l" defTabSz="4201394" rtl="0" eaLnBrk="1" latinLnBrk="0" hangingPunct="1">
        <a:defRPr sz="827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93F73B4-F2D2-F358-8FE9-E9ED823A0D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1996687"/>
              </p:ext>
            </p:extLst>
          </p:nvPr>
        </p:nvGraphicFramePr>
        <p:xfrm>
          <a:off x="18306259" y="12327732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8306259" y="12327732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82B31A46-BAED-CC99-F67E-BD3E044BA4F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48801338" cy="31504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18957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 2013 - 2022</Template>
  <TotalTime>1</TotalTime>
  <Words>0</Words>
  <Application>Microsoft Macintosh PowerPoint</Application>
  <PresentationFormat>Custom</PresentationFormat>
  <Paragraphs>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rdan, Paul</dc:creator>
  <cp:lastModifiedBy>Jordan, Paul</cp:lastModifiedBy>
  <cp:revision>1</cp:revision>
  <dcterms:created xsi:type="dcterms:W3CDTF">2023-03-14T00:27:42Z</dcterms:created>
  <dcterms:modified xsi:type="dcterms:W3CDTF">2023-03-14T00:29:32Z</dcterms:modified>
</cp:coreProperties>
</file>